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0" r:id="rId1"/>
  </p:sldMasterIdLst>
  <p:notesMasterIdLst>
    <p:notesMasterId r:id="rId3"/>
  </p:notesMasterIdLst>
  <p:handoutMasterIdLst>
    <p:handoutMasterId r:id="rId4"/>
  </p:handoutMasterIdLst>
  <p:sldIdLst>
    <p:sldId id="622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zh-CN" altLang="zh-CN" sz="1200" b="0" dirty="0">
              <a:latin typeface="方正准圆简体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zh-CN" altLang="zh-CN" sz="1200" b="0" dirty="0">
              <a:latin typeface="方正准圆简体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39581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8404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039029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878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230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9033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95361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6047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1693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01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450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262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31845636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90358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1B9FEB0-8D14-463D-B09E-1C413332C3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1B9FEB0-8D14-463D-B09E-1C413332C36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1FDEE4-7342-4B25-9DDA-D06F303995EB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76998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buFont typeface="SimSun" pitchFamily="34" charset="-127"/>
              <a:buNone/>
              <a:defRPr/>
            </a:pPr>
            <a:r>
              <a:rPr lang="de-CH" altLang="fr-FR" sz="992" dirty="0" err="1">
                <a:solidFill>
                  <a:srgbClr val="7F7F7F"/>
                </a:solidFill>
                <a:latin typeface="+mj-lt"/>
              </a:rPr>
              <a:t>Sidel</a:t>
            </a:r>
            <a:r>
              <a:rPr lang="de-CH" altLang="fr-FR" sz="992" dirty="0">
                <a:solidFill>
                  <a:srgbClr val="7F7F7F"/>
                </a:solidFill>
                <a:latin typeface="+mj-lt"/>
              </a:rPr>
              <a:t> </a:t>
            </a:r>
            <a:r>
              <a:rPr lang="de-CH" altLang="fr-FR" sz="992" dirty="0" err="1">
                <a:solidFill>
                  <a:srgbClr val="7F7F7F"/>
                </a:solidFill>
                <a:latin typeface="+mj-lt"/>
              </a:rPr>
              <a:t>ServicesLine</a:t>
            </a:r>
            <a:r>
              <a:rPr lang="de-CH" altLang="fr-FR" sz="992" dirty="0">
                <a:solidFill>
                  <a:srgbClr val="7F7F7F"/>
                </a:solidFill>
                <a:latin typeface="+mj-lt"/>
              </a:rPr>
              <a:t> </a:t>
            </a:r>
            <a:r>
              <a:rPr lang="de-CH" altLang="fr-FR" sz="992" dirty="0" err="1">
                <a:solidFill>
                  <a:srgbClr val="7F7F7F"/>
                </a:solidFill>
                <a:latin typeface="+mj-lt"/>
              </a:rPr>
              <a:t>Improvement</a:t>
            </a:r>
            <a:r>
              <a:rPr lang="de-CH" altLang="fr-FR" sz="992" dirty="0">
                <a:solidFill>
                  <a:srgbClr val="7F7F7F"/>
                </a:solidFill>
                <a:latin typeface="+mj-lt"/>
              </a:rPr>
              <a:t>, </a:t>
            </a:r>
            <a:fld id="{2B516883-90B8-4E60-A885-722B19EAFB49}" type="datetime4">
              <a:rPr lang="de-CH" altLang="fr-FR" sz="992" smtClean="0">
                <a:solidFill>
                  <a:srgbClr val="7F7F7F"/>
                </a:solidFill>
                <a:latin typeface="+mj-lt"/>
              </a:rPr>
              <a:pPr>
                <a:buSzPct val="100000"/>
                <a:buFont typeface="SimSun" pitchFamily="34" charset="-127"/>
                <a:buNone/>
                <a:defRPr/>
              </a:pPr>
              <a:t>5. August 2020</a:t>
            </a:fld>
            <a:endParaRPr lang="de-CH" altLang="fr-FR" sz="992" dirty="0">
              <a:solidFill>
                <a:srgbClr val="7F7F7F"/>
              </a:solidFill>
              <a:latin typeface="+mj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1FB1D0-DCEB-4D89-9EA6-ADE1E945E4A7}"/>
              </a:ext>
            </a:extLst>
          </p:cNvPr>
          <p:cNvSpPr txBox="1">
            <a:spLocks/>
          </p:cNvSpPr>
          <p:nvPr/>
        </p:nvSpPr>
        <p:spPr>
          <a:xfrm>
            <a:off x="757449" y="7135547"/>
            <a:ext cx="543418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buFont typeface="SimSun" panose="02010600030101010101" pitchFamily="2" charset="-122"/>
              <a:buNone/>
            </a:pPr>
            <a:r>
              <a:rPr lang="de-CH" altLang="fr-FR" sz="992">
                <a:solidFill>
                  <a:srgbClr val="7F7F7F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页码</a:t>
            </a:r>
            <a:r>
              <a:rPr lang="de-CH" altLang="fr-FR" sz="992">
                <a:solidFill>
                  <a:srgbClr val="7F7F7F"/>
                </a:solidFill>
                <a:latin typeface="SimSun" panose="02010600030101010101" pitchFamily="2" charset="-122"/>
              </a:rPr>
              <a:t> </a:t>
            </a:r>
            <a:fld id="{3B5C4C4E-ECBA-477D-9749-02638F9883D3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  <a:buFont typeface="SimSun" panose="02010600030101010101" pitchFamily="2" charset="-122"/>
                <a:buNone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F64486CC-7DE9-436C-BCB4-F493B142EE7D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5463C56-BE39-458F-AD25-C804647EAC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E505CDF-110F-43CE-9ADF-C469BE6806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727 w 501"/>
                <a:gd name="T1" fmla="*/ 4134 h 429"/>
                <a:gd name="T2" fmla="*/ 4460 w 501"/>
                <a:gd name="T3" fmla="*/ 3789 h 429"/>
                <a:gd name="T4" fmla="*/ 4361 w 501"/>
                <a:gd name="T5" fmla="*/ 3659 h 429"/>
                <a:gd name="T6" fmla="*/ 3792 w 501"/>
                <a:gd name="T7" fmla="*/ 3392 h 429"/>
                <a:gd name="T8" fmla="*/ 3055 w 501"/>
                <a:gd name="T9" fmla="*/ 4134 h 429"/>
                <a:gd name="T10" fmla="*/ 3792 w 501"/>
                <a:gd name="T11" fmla="*/ 4860 h 429"/>
                <a:gd name="T12" fmla="*/ 4361 w 501"/>
                <a:gd name="T13" fmla="*/ 4597 h 429"/>
                <a:gd name="T14" fmla="*/ 4460 w 501"/>
                <a:gd name="T15" fmla="*/ 4465 h 429"/>
                <a:gd name="T16" fmla="*/ 4727 w 501"/>
                <a:gd name="T17" fmla="*/ 4134 h 429"/>
                <a:gd name="T18" fmla="*/ 2135 w 501"/>
                <a:gd name="T19" fmla="*/ 4117 h 429"/>
                <a:gd name="T20" fmla="*/ 3792 w 501"/>
                <a:gd name="T21" fmla="*/ 2479 h 429"/>
                <a:gd name="T22" fmla="*/ 5058 w 501"/>
                <a:gd name="T23" fmla="*/ 3061 h 429"/>
                <a:gd name="T24" fmla="*/ 5067 w 501"/>
                <a:gd name="T25" fmla="*/ 3089 h 429"/>
                <a:gd name="T26" fmla="*/ 5096 w 501"/>
                <a:gd name="T27" fmla="*/ 3077 h 429"/>
                <a:gd name="T28" fmla="*/ 3289 w 501"/>
                <a:gd name="T29" fmla="*/ 0 h 429"/>
                <a:gd name="T30" fmla="*/ 0 w 501"/>
                <a:gd name="T31" fmla="*/ 5666 h 429"/>
                <a:gd name="T32" fmla="*/ 3211 w 501"/>
                <a:gd name="T33" fmla="*/ 5666 h 429"/>
                <a:gd name="T34" fmla="*/ 3228 w 501"/>
                <a:gd name="T35" fmla="*/ 5654 h 429"/>
                <a:gd name="T36" fmla="*/ 2895 w 501"/>
                <a:gd name="T37" fmla="*/ 5510 h 429"/>
                <a:gd name="T38" fmla="*/ 2135 w 501"/>
                <a:gd name="T39" fmla="*/ 4117 h 429"/>
                <a:gd name="T40" fmla="*/ 6529 w 501"/>
                <a:gd name="T41" fmla="*/ 5637 h 429"/>
                <a:gd name="T42" fmla="*/ 6189 w 501"/>
                <a:gd name="T43" fmla="*/ 5547 h 429"/>
                <a:gd name="T44" fmla="*/ 5329 w 501"/>
                <a:gd name="T45" fmla="*/ 4843 h 429"/>
                <a:gd name="T46" fmla="*/ 5001 w 501"/>
                <a:gd name="T47" fmla="*/ 5257 h 429"/>
                <a:gd name="T48" fmla="*/ 4383 w 501"/>
                <a:gd name="T49" fmla="*/ 5654 h 429"/>
                <a:gd name="T50" fmla="*/ 4383 w 501"/>
                <a:gd name="T51" fmla="*/ 5666 h 429"/>
                <a:gd name="T52" fmla="*/ 6595 w 501"/>
                <a:gd name="T53" fmla="*/ 5666 h 429"/>
                <a:gd name="T54" fmla="*/ 6595 w 501"/>
                <a:gd name="T55" fmla="*/ 5654 h 429"/>
                <a:gd name="T56" fmla="*/ 6529 w 501"/>
                <a:gd name="T57" fmla="*/ 5637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D94BD3D-6DB2-4054-84E4-1B63123530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257 w 937"/>
                <a:gd name="T1" fmla="*/ 1790 h 326"/>
                <a:gd name="T2" fmla="*/ 1028 w 937"/>
                <a:gd name="T3" fmla="*/ 1172 h 326"/>
                <a:gd name="T4" fmla="*/ 1647 w 937"/>
                <a:gd name="T5" fmla="*/ 697 h 326"/>
                <a:gd name="T6" fmla="*/ 2450 w 937"/>
                <a:gd name="T7" fmla="*/ 1316 h 326"/>
                <a:gd name="T8" fmla="*/ 3339 w 937"/>
                <a:gd name="T9" fmla="*/ 1316 h 326"/>
                <a:gd name="T10" fmla="*/ 1687 w 937"/>
                <a:gd name="T11" fmla="*/ 0 h 326"/>
                <a:gd name="T12" fmla="*/ 156 w 937"/>
                <a:gd name="T13" fmla="*/ 1238 h 326"/>
                <a:gd name="T14" fmla="*/ 1373 w 937"/>
                <a:gd name="T15" fmla="*/ 2409 h 326"/>
                <a:gd name="T16" fmla="*/ 2597 w 937"/>
                <a:gd name="T17" fmla="*/ 3085 h 326"/>
                <a:gd name="T18" fmla="*/ 1791 w 937"/>
                <a:gd name="T19" fmla="*/ 3597 h 326"/>
                <a:gd name="T20" fmla="*/ 881 w 937"/>
                <a:gd name="T21" fmla="*/ 2834 h 326"/>
                <a:gd name="T22" fmla="*/ 12 w 937"/>
                <a:gd name="T23" fmla="*/ 2834 h 326"/>
                <a:gd name="T24" fmla="*/ 1770 w 937"/>
                <a:gd name="T25" fmla="*/ 4296 h 326"/>
                <a:gd name="T26" fmla="*/ 3466 w 937"/>
                <a:gd name="T27" fmla="*/ 2978 h 326"/>
                <a:gd name="T28" fmla="*/ 2257 w 937"/>
                <a:gd name="T29" fmla="*/ 1790 h 326"/>
                <a:gd name="T30" fmla="*/ 7136 w 937"/>
                <a:gd name="T31" fmla="*/ 1597 h 326"/>
                <a:gd name="T32" fmla="*/ 7136 w 937"/>
                <a:gd name="T33" fmla="*/ 1597 h 326"/>
                <a:gd name="T34" fmla="*/ 6243 w 937"/>
                <a:gd name="T35" fmla="*/ 1143 h 326"/>
                <a:gd name="T36" fmla="*/ 4936 w 937"/>
                <a:gd name="T37" fmla="*/ 2688 h 326"/>
                <a:gd name="T38" fmla="*/ 6264 w 937"/>
                <a:gd name="T39" fmla="*/ 4285 h 326"/>
                <a:gd name="T40" fmla="*/ 7164 w 937"/>
                <a:gd name="T41" fmla="*/ 3822 h 326"/>
                <a:gd name="T42" fmla="*/ 7174 w 937"/>
                <a:gd name="T43" fmla="*/ 3822 h 326"/>
                <a:gd name="T44" fmla="*/ 7174 w 937"/>
                <a:gd name="T45" fmla="*/ 4202 h 326"/>
                <a:gd name="T46" fmla="*/ 7956 w 937"/>
                <a:gd name="T47" fmla="*/ 4202 h 326"/>
                <a:gd name="T48" fmla="*/ 7956 w 937"/>
                <a:gd name="T49" fmla="*/ 106 h 326"/>
                <a:gd name="T50" fmla="*/ 7136 w 937"/>
                <a:gd name="T51" fmla="*/ 106 h 326"/>
                <a:gd name="T52" fmla="*/ 7136 w 937"/>
                <a:gd name="T53" fmla="*/ 1597 h 326"/>
                <a:gd name="T54" fmla="*/ 6465 w 937"/>
                <a:gd name="T55" fmla="*/ 3666 h 326"/>
                <a:gd name="T56" fmla="*/ 5751 w 937"/>
                <a:gd name="T57" fmla="*/ 2716 h 326"/>
                <a:gd name="T58" fmla="*/ 6465 w 937"/>
                <a:gd name="T59" fmla="*/ 1769 h 326"/>
                <a:gd name="T60" fmla="*/ 7164 w 937"/>
                <a:gd name="T61" fmla="*/ 2700 h 326"/>
                <a:gd name="T62" fmla="*/ 6465 w 937"/>
                <a:gd name="T63" fmla="*/ 3666 h 326"/>
                <a:gd name="T64" fmla="*/ 9775 w 937"/>
                <a:gd name="T65" fmla="*/ 1143 h 326"/>
                <a:gd name="T66" fmla="*/ 8258 w 937"/>
                <a:gd name="T67" fmla="*/ 2716 h 326"/>
                <a:gd name="T68" fmla="*/ 9775 w 937"/>
                <a:gd name="T69" fmla="*/ 4285 h 326"/>
                <a:gd name="T70" fmla="*/ 11160 w 937"/>
                <a:gd name="T71" fmla="*/ 3281 h 326"/>
                <a:gd name="T72" fmla="*/ 10446 w 937"/>
                <a:gd name="T73" fmla="*/ 3281 h 326"/>
                <a:gd name="T74" fmla="*/ 9804 w 937"/>
                <a:gd name="T75" fmla="*/ 3666 h 326"/>
                <a:gd name="T76" fmla="*/ 9062 w 937"/>
                <a:gd name="T77" fmla="*/ 2912 h 326"/>
                <a:gd name="T78" fmla="*/ 11212 w 937"/>
                <a:gd name="T79" fmla="*/ 2912 h 326"/>
                <a:gd name="T80" fmla="*/ 9775 w 937"/>
                <a:gd name="T81" fmla="*/ 1143 h 326"/>
                <a:gd name="T82" fmla="*/ 9062 w 937"/>
                <a:gd name="T83" fmla="*/ 2400 h 326"/>
                <a:gd name="T84" fmla="*/ 9749 w 937"/>
                <a:gd name="T85" fmla="*/ 1769 h 326"/>
                <a:gd name="T86" fmla="*/ 10397 w 937"/>
                <a:gd name="T87" fmla="*/ 2400 h 326"/>
                <a:gd name="T88" fmla="*/ 9062 w 937"/>
                <a:gd name="T89" fmla="*/ 2400 h 326"/>
                <a:gd name="T90" fmla="*/ 11545 w 937"/>
                <a:gd name="T91" fmla="*/ 4202 h 326"/>
                <a:gd name="T92" fmla="*/ 12360 w 937"/>
                <a:gd name="T93" fmla="*/ 4202 h 326"/>
                <a:gd name="T94" fmla="*/ 12360 w 937"/>
                <a:gd name="T95" fmla="*/ 106 h 326"/>
                <a:gd name="T96" fmla="*/ 11545 w 937"/>
                <a:gd name="T97" fmla="*/ 106 h 326"/>
                <a:gd name="T98" fmla="*/ 11545 w 937"/>
                <a:gd name="T99" fmla="*/ 4202 h 326"/>
                <a:gd name="T100" fmla="*/ 3773 w 937"/>
                <a:gd name="T101" fmla="*/ 4202 h 326"/>
                <a:gd name="T102" fmla="*/ 4589 w 937"/>
                <a:gd name="T103" fmla="*/ 4202 h 326"/>
                <a:gd name="T104" fmla="*/ 4589 w 937"/>
                <a:gd name="T105" fmla="*/ 1228 h 326"/>
                <a:gd name="T106" fmla="*/ 3773 w 937"/>
                <a:gd name="T107" fmla="*/ 1228 h 326"/>
                <a:gd name="T108" fmla="*/ 3773 w 937"/>
                <a:gd name="T109" fmla="*/ 4202 h 326"/>
                <a:gd name="T110" fmla="*/ 3773 w 937"/>
                <a:gd name="T111" fmla="*/ 775 h 326"/>
                <a:gd name="T112" fmla="*/ 4589 w 937"/>
                <a:gd name="T113" fmla="*/ 775 h 326"/>
                <a:gd name="T114" fmla="*/ 4589 w 937"/>
                <a:gd name="T115" fmla="*/ 106 h 326"/>
                <a:gd name="T116" fmla="*/ 3773 w 937"/>
                <a:gd name="T117" fmla="*/ 106 h 326"/>
                <a:gd name="T118" fmla="*/ 3773 w 937"/>
                <a:gd name="T119" fmla="*/ 77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E89A8C83-0192-460C-9442-66864C4F883C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A11CC0B8-7BBB-4AE0-954F-7C8FE07E2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A11CC0B8-7BBB-4AE0-954F-7C8FE07E22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75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10988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80354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37396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4105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61127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74123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5184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EE09DDA-B5BE-425F-A425-3C3651D0AD3A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4168516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727" y="571639"/>
            <a:ext cx="7833296" cy="509007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  <a:latin typeface="方正准圆简体"/>
                <a:cs typeface="方正准圆简体"/>
              </a:rPr>
              <a:t>限制料斗中的瓶胚污染以提高产品质量</a:t>
            </a:r>
            <a:endParaRPr lang="zh-CN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504729" y="1835327"/>
            <a:ext cx="7833296" cy="352198"/>
          </a:xfrm>
        </p:spPr>
        <p:txBody>
          <a:bodyPr/>
          <a:lstStyle/>
          <a:p>
            <a:r>
              <a:rPr lang="en-US" altLang="fr-FR" dirty="0">
                <a:latin typeface="方正准圆简体"/>
                <a:cs typeface="方正准圆简体"/>
              </a:rPr>
              <a:t>摇摆式料斗盖可确保不会过压</a:t>
            </a:r>
            <a:r>
              <a:rPr dirty="0">
                <a:latin typeface="方正准圆简体"/>
                <a:cs typeface="方正准圆简体"/>
              </a:rPr>
              <a:t> </a:t>
            </a:r>
            <a:endParaRPr lang="zh-CN" altLang="zh-CN" dirty="0"/>
          </a:p>
          <a:p>
            <a:endParaRPr lang="zh-CN" altLang="fr-FR" dirty="0"/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DC362B6A-7216-4428-B1F7-42AACC28B60D}"/>
              </a:ext>
            </a:extLst>
          </p:cNvPr>
          <p:cNvSpPr/>
          <p:nvPr/>
        </p:nvSpPr>
        <p:spPr>
          <a:xfrm>
            <a:off x="1500841" y="2187525"/>
            <a:ext cx="3811633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 err="1">
                <a:solidFill>
                  <a:srgbClr val="FFFFFF"/>
                </a:solidFill>
                <a:latin typeface="FZZhunYuan-M02S"/>
                <a:cs typeface="FZZhunYuan-M02S"/>
              </a:rPr>
              <a:t>价值和益处</a:t>
            </a:r>
            <a:endParaRPr lang="zh-CN" altLang="fr-FR" sz="1544" dirty="0">
              <a:solidFill>
                <a:srgbClr val="FFFFFF"/>
              </a:solidFill>
              <a:latin typeface="FZZhunYuan-M02S"/>
              <a:ea typeface="FZZhunYuan-M02S"/>
              <a:cs typeface="FZZhunYuan-M02S"/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500841" y="2682258"/>
            <a:ext cx="3811633" cy="346780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en-US" altLang="zh-CN" sz="1131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2D398D4C-877B-4629-9C1F-5244FB0F0347}"/>
              </a:ext>
            </a:extLst>
          </p:cNvPr>
          <p:cNvSpPr/>
          <p:nvPr/>
        </p:nvSpPr>
        <p:spPr>
          <a:xfrm>
            <a:off x="5520946" y="2187525"/>
            <a:ext cx="3811633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marL="186665" indent="-186665" defTabSz="895996">
              <a:spcBef>
                <a:spcPts val="294"/>
              </a:spcBef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方正准圆简体"/>
                <a:cs typeface="方正准圆简体"/>
              </a:rPr>
              <a:t>描述</a:t>
            </a: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20946" y="2679148"/>
            <a:ext cx="3811633" cy="34709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n-US" altLang="zh-CN" sz="1245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504728" y="6325550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  <a:latin typeface="方正准圆简体"/>
                <a:cs typeface="方正准圆简体"/>
              </a:rPr>
              <a:t>价值：产品品质</a:t>
            </a: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设备：Universal吹瓶机</a:t>
            </a:r>
            <a:endParaRPr lang="en-GB" altLang="fr-FR" sz="882" b="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defTabSz="895996" eaLnBrk="1" hangingPunct="1">
              <a:spcBef>
                <a:spcPct val="20000"/>
              </a:spcBef>
              <a:buClrTx/>
              <a:defRPr/>
            </a:pPr>
            <a:r>
              <a:rPr lang="en-GB" altLang="fr-FR" sz="882" b="0" dirty="0">
                <a:solidFill>
                  <a:srgbClr val="000000"/>
                </a:solidFill>
                <a:latin typeface="方正准圆简体"/>
                <a:cs typeface="方正准圆简体"/>
              </a:rPr>
              <a:t>产品目录代码</a:t>
            </a:r>
            <a:r>
              <a:rPr lang="en-GB" altLang="fr-FR" sz="882" b="0">
                <a:solidFill>
                  <a:srgbClr val="000000"/>
                </a:solidFill>
                <a:latin typeface="方正准圆简体"/>
                <a:cs typeface="方正准圆简体"/>
              </a:rPr>
              <a:t>：</a:t>
            </a:r>
            <a:r>
              <a:rPr lang="en-GB" altLang="fr-FR" sz="882" b="0">
                <a:solidFill>
                  <a:srgbClr val="000000"/>
                </a:solidFill>
                <a:latin typeface="Arial"/>
                <a:cs typeface="方正准圆简体"/>
              </a:rPr>
              <a:t>1016</a:t>
            </a:r>
            <a:endParaRPr lang="en-GB" altLang="fr-FR" sz="882" b="0" dirty="0">
              <a:solidFill>
                <a:srgbClr val="000000"/>
              </a:solidFill>
              <a:latin typeface="Arial"/>
              <a:cs typeface="方正准圆简体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FDF8CE-634F-4A4C-9FA0-CEE5E4D2394C}"/>
              </a:ext>
            </a:extLst>
          </p:cNvPr>
          <p:cNvSpPr/>
          <p:nvPr/>
        </p:nvSpPr>
        <p:spPr>
          <a:xfrm>
            <a:off x="1500841" y="2709504"/>
            <a:ext cx="3811633" cy="998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indent="-189752" defTabSz="95040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限制料斗中的瓶胚污染以提高生产卫生性</a:t>
            </a:r>
            <a:endParaRPr lang="zh-CN" altLang="x-none" sz="1323" b="0" kern="0" dirty="0">
              <a:solidFill>
                <a:srgbClr val="000000"/>
              </a:solidFill>
              <a:latin typeface="方正准圆简体"/>
              <a:ea typeface="方正准圆简体"/>
              <a:cs typeface="方正准圆简体"/>
            </a:endParaRPr>
          </a:p>
          <a:p>
            <a:pPr marL="189752" indent="-189752" defTabSz="95040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避免生产期间瓶胚（例如从地面收集的瓶胚）或瓶胚进给区之外的任何其他物品有意或无意被扔到料斗内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7FD01D-E3A3-458C-8D3A-88485ECAEAD4}"/>
              </a:ext>
            </a:extLst>
          </p:cNvPr>
          <p:cNvSpPr/>
          <p:nvPr/>
        </p:nvSpPr>
        <p:spPr>
          <a:xfrm>
            <a:off x="5520946" y="2679322"/>
            <a:ext cx="3803077" cy="10899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此选件可盖住料斗上部，防止灰尘落到料斗内 </a:t>
            </a:r>
          </a:p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它包括一个盖子和齿轮电机</a:t>
            </a:r>
          </a:p>
          <a:p>
            <a:pPr marL="189752" lvl="1" indent="-189752" defTabSz="950409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在手动模式下，加载瓶胚时，操作员通过控制装置来控制盖罩的开合</a:t>
            </a:r>
          </a:p>
        </p:txBody>
      </p:sp>
      <p:pic>
        <p:nvPicPr>
          <p:cNvPr id="13" name="Image 32">
            <a:extLst>
              <a:ext uri="{FF2B5EF4-FFF2-40B4-BE49-F238E27FC236}">
                <a16:creationId xmlns:a16="http://schemas.microsoft.com/office/drawing/2014/main" id="{19637D86-FD6B-4E4D-B57D-D290DC3236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4760" y="4112284"/>
            <a:ext cx="1533407" cy="195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982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1</Pages>
  <Words>29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MS PGothic</vt:lpstr>
      <vt:lpstr>宋体</vt:lpstr>
      <vt:lpstr>宋体</vt:lpstr>
      <vt:lpstr>Arial</vt:lpstr>
      <vt:lpstr>Book Antiqua</vt:lpstr>
      <vt:lpstr>FZZhunYuan-M02S</vt:lpstr>
      <vt:lpstr>Wingdings</vt:lpstr>
      <vt:lpstr>方正准圆简体</vt:lpstr>
      <vt:lpstr>NewSidel_Template_4x3_with add layouts</vt:lpstr>
      <vt:lpstr>think-cell Folie</vt:lpstr>
      <vt:lpstr>限制料斗中的瓶胚污染以提高产品质量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5</cp:revision>
  <cp:lastPrinted>2016-08-02T08:13:06Z</cp:lastPrinted>
  <dcterms:created xsi:type="dcterms:W3CDTF">2009-07-10T13:59:45Z</dcterms:created>
  <dcterms:modified xsi:type="dcterms:W3CDTF">2020-08-05T11:5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8-05T11:44:02.872761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5T16:40:10.2411588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5T16:40:10.2411588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